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wdp" ContentType="image/vnd.ms-photo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0" r:id="rId1"/>
  </p:sldMasterIdLst>
  <p:notesMasterIdLst>
    <p:notesMasterId r:id="rId21"/>
  </p:notesMasterIdLst>
  <p:sldIdLst>
    <p:sldId id="272" r:id="rId2"/>
    <p:sldId id="343" r:id="rId3"/>
    <p:sldId id="344" r:id="rId4"/>
    <p:sldId id="347" r:id="rId5"/>
    <p:sldId id="348" r:id="rId6"/>
    <p:sldId id="354" r:id="rId7"/>
    <p:sldId id="355" r:id="rId8"/>
    <p:sldId id="362" r:id="rId9"/>
    <p:sldId id="356" r:id="rId10"/>
    <p:sldId id="357" r:id="rId11"/>
    <p:sldId id="363" r:id="rId12"/>
    <p:sldId id="358" r:id="rId13"/>
    <p:sldId id="359" r:id="rId14"/>
    <p:sldId id="364" r:id="rId15"/>
    <p:sldId id="360" r:id="rId16"/>
    <p:sldId id="366" r:id="rId17"/>
    <p:sldId id="361" r:id="rId18"/>
    <p:sldId id="365" r:id="rId19"/>
    <p:sldId id="312" r:id="rId2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CE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0" autoAdjust="0"/>
    <p:restoredTop sz="97778" autoAdjust="0"/>
  </p:normalViewPr>
  <p:slideViewPr>
    <p:cSldViewPr snapToGrid="0" snapToObjects="1">
      <p:cViewPr>
        <p:scale>
          <a:sx n="81" d="100"/>
          <a:sy n="81" d="100"/>
        </p:scale>
        <p:origin x="-528" y="-216"/>
      </p:cViewPr>
      <p:guideLst>
        <p:guide orient="horz" pos="2160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notesMaster" Target="notesMasters/notesMaster1.xml"/><Relationship Id="rId22" Type="http://schemas.openxmlformats.org/officeDocument/2006/relationships/printerSettings" Target="printerSettings/printerSettings1.bin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44CB7-6F94-9B44-916A-C0726FFE54E5}" type="datetimeFigureOut">
              <a:rPr lang="en-US" smtClean="0"/>
              <a:t>3/20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96DA63-089B-7343-87EF-6A3DEB8127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877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150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>
                <a:latin typeface="Calibri" charset="0"/>
              </a:rPr>
              <a:t>TAMBAH </a:t>
            </a:r>
            <a:r>
              <a:rPr lang="en-US" dirty="0" err="1" smtClean="0">
                <a:latin typeface="Calibri" charset="0"/>
              </a:rPr>
              <a:t>sdm</a:t>
            </a:r>
            <a:r>
              <a:rPr lang="en-US" dirty="0" smtClean="0">
                <a:latin typeface="Calibri" charset="0"/>
              </a:rPr>
              <a:t>, </a:t>
            </a:r>
            <a:r>
              <a:rPr lang="en-US" dirty="0" err="1" smtClean="0">
                <a:latin typeface="Calibri" charset="0"/>
              </a:rPr>
              <a:t>mekaniems</a:t>
            </a:r>
            <a:r>
              <a:rPr lang="en-US" baseline="0" dirty="0" smtClean="0">
                <a:latin typeface="Calibri" charset="0"/>
              </a:rPr>
              <a:t> </a:t>
            </a:r>
            <a:r>
              <a:rPr lang="en-US" baseline="0" dirty="0" err="1" smtClean="0">
                <a:latin typeface="Calibri" charset="0"/>
              </a:rPr>
              <a:t>koordinasi</a:t>
            </a:r>
            <a:endParaRPr lang="en-US" dirty="0">
              <a:latin typeface="Calibri" charset="0"/>
            </a:endParaRPr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0"/>
              </a:defRPr>
            </a:lvl9pPr>
          </a:lstStyle>
          <a:p>
            <a:fld id="{C83F0C85-A2D8-A240-B1F8-12B3255540C4}" type="slidenum">
              <a:rPr lang="en-US" sz="1200"/>
              <a:pPr/>
              <a:t>5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6953" y="268288"/>
            <a:ext cx="5669280" cy="3900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0400" y="4208929"/>
            <a:ext cx="5458968" cy="1048684"/>
          </a:xfr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0400" y="5257800"/>
            <a:ext cx="5458968" cy="621792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SzPct val="100000"/>
              <a:buFont typeface="Wingdings 2" pitchFamily="18" charset="2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76600" y="390525"/>
            <a:ext cx="5504688" cy="365125"/>
          </a:xfrm>
        </p:spPr>
        <p:txBody>
          <a:bodyPr vert="horz" lIns="91440" tIns="45720" rIns="91440" bIns="45720" rtlCol="0" anchor="ctr"/>
          <a:lstStyle>
            <a:lvl1pPr marL="0" algn="r" defTabSz="914400" rtl="0" eaLnBrk="1" latinLnBrk="0" hangingPunct="1">
              <a:defRPr sz="22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18688" y="6356350"/>
            <a:ext cx="4736592" cy="365125"/>
          </a:xfr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sz="11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6494" y="6356350"/>
            <a:ext cx="685800" cy="365125"/>
          </a:xfrm>
        </p:spPr>
        <p:txBody>
          <a:bodyPr vert="horz" lIns="91440" tIns="45720" rIns="91440" bIns="45720" rtlCol="0" anchor="ctr"/>
          <a:lstStyle>
            <a:lvl1pPr marL="0" algn="r" defTabSz="914400" rtl="0" eaLnBrk="1" latinLnBrk="0" hangingPunct="1">
              <a:defRPr sz="11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2440" y="2214562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282440" y="4224973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457200" y="2214563"/>
            <a:ext cx="3566160" cy="391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2440" y="2214562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282440" y="4224973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4"/>
          </p:nvPr>
        </p:nvSpPr>
        <p:spPr>
          <a:xfrm>
            <a:off x="457200" y="2214562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5"/>
          </p:nvPr>
        </p:nvSpPr>
        <p:spPr>
          <a:xfrm>
            <a:off x="457200" y="4224973"/>
            <a:ext cx="3566160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95082"/>
            <a:ext cx="3566160" cy="1035424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2052" y="990600"/>
            <a:ext cx="3566160" cy="51355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99" y="2057400"/>
            <a:ext cx="3566160" cy="3657601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746811" y="268288"/>
            <a:ext cx="4114800" cy="566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95082"/>
            <a:ext cx="3566160" cy="1035424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99" y="2057400"/>
            <a:ext cx="3566160" cy="3657601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1365" y="6124014"/>
            <a:ext cx="1752600" cy="365125"/>
          </a:xfrm>
        </p:spPr>
        <p:txBody>
          <a:bodyPr/>
          <a:lstStyle>
            <a:lvl1pPr algn="l">
              <a:defRPr/>
            </a:lvl1pPr>
          </a:lstStyle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4812" y="6356350"/>
            <a:ext cx="386378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760258" y="990600"/>
            <a:ext cx="4096512" cy="5611813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216775" y="268288"/>
            <a:ext cx="1639457" cy="36393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88" y="4267200"/>
            <a:ext cx="6477000" cy="566738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9874" y="268288"/>
            <a:ext cx="6858000" cy="36393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8788" y="4840941"/>
            <a:ext cx="6475412" cy="130427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35471" y="268288"/>
            <a:ext cx="720761" cy="36393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788" y="4267200"/>
            <a:ext cx="6477000" cy="566738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9874" y="268288"/>
            <a:ext cx="3006726" cy="36393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8788" y="4840941"/>
            <a:ext cx="6475412" cy="130427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idx="13"/>
          </p:nvPr>
        </p:nvSpPr>
        <p:spPr>
          <a:xfrm>
            <a:off x="3352800" y="268288"/>
            <a:ext cx="4701988" cy="177566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/>
          </p:nvPr>
        </p:nvSpPr>
        <p:spPr>
          <a:xfrm>
            <a:off x="3352800" y="2131935"/>
            <a:ext cx="2304288" cy="177566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  <p:sp>
        <p:nvSpPr>
          <p:cNvPr id="12" name="Picture Placeholder 2"/>
          <p:cNvSpPr>
            <a:spLocks noGrp="1"/>
          </p:cNvSpPr>
          <p:nvPr>
            <p:ph type="pic" idx="15"/>
          </p:nvPr>
        </p:nvSpPr>
        <p:spPr>
          <a:xfrm>
            <a:off x="5750500" y="2131935"/>
            <a:ext cx="2304288" cy="177566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212106" y="268288"/>
            <a:ext cx="1645920" cy="16459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48918" y="268288"/>
            <a:ext cx="718073" cy="566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43799" y="1035424"/>
            <a:ext cx="1322295" cy="5090739"/>
          </a:xfrm>
        </p:spPr>
        <p:txBody>
          <a:bodyPr vert="eaVert" anchor="t" anchorCtr="0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035424"/>
            <a:ext cx="6019800" cy="5109789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428096" y="344294"/>
            <a:ext cx="1429929" cy="522935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12106" y="6356350"/>
            <a:ext cx="1752600" cy="365125"/>
          </a:xfrm>
        </p:spPr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7428096" y="875459"/>
            <a:ext cx="1429929" cy="5417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6953" y="268288"/>
            <a:ext cx="5669280" cy="25603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0399" y="4171950"/>
            <a:ext cx="5457919" cy="1085850"/>
          </a:xfrm>
        </p:spPr>
        <p:txBody>
          <a:bodyPr>
            <a:normAutofit/>
          </a:bodyPr>
          <a:lstStyle>
            <a:lvl1pPr>
              <a:defRPr sz="4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0401" y="5257799"/>
            <a:ext cx="5457918" cy="618565"/>
          </a:xfrm>
        </p:spPr>
        <p:txBody>
          <a:bodyPr>
            <a:normAutofit/>
          </a:bodyPr>
          <a:lstStyle>
            <a:lvl1pPr marL="0" indent="0" algn="l">
              <a:spcBef>
                <a:spcPct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spcBef>
                <a:spcPct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76600" y="389965"/>
            <a:ext cx="5499847" cy="365125"/>
          </a:xfrm>
        </p:spPr>
        <p:txBody>
          <a:bodyPr/>
          <a:lstStyle>
            <a:lvl1pPr>
              <a:defRPr sz="2200" b="0" baseline="0">
                <a:solidFill>
                  <a:schemeClr val="bg1"/>
                </a:solidFill>
              </a:defRPr>
            </a:lvl1pPr>
          </a:lstStyle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13847" y="6356350"/>
            <a:ext cx="473411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5459" y="6356350"/>
            <a:ext cx="685800" cy="365125"/>
          </a:xfrm>
        </p:spPr>
        <p:txBody>
          <a:bodyPr vert="horz" lIns="91440" tIns="45720" rIns="91440" bIns="45720" rtlCol="0" anchor="ctr"/>
          <a:lstStyle>
            <a:lvl1pPr marL="0" algn="r" defTabSz="914400" rtl="0" eaLnBrk="1" latinLnBrk="0" hangingPunct="1">
              <a:defRPr sz="1100" b="1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200400" y="2877671"/>
            <a:ext cx="5646867" cy="128016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69875" y="268288"/>
            <a:ext cx="1645920" cy="16459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8423" y="914400"/>
            <a:ext cx="6508377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8423" y="2209800"/>
            <a:ext cx="6508377" cy="3916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12106" y="6356350"/>
            <a:ext cx="1752600" cy="365125"/>
          </a:xfrm>
        </p:spPr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78423" y="6356350"/>
            <a:ext cx="4926852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1694" y="361016"/>
            <a:ext cx="506506" cy="365125"/>
          </a:xfrm>
        </p:spPr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69875" y="1976718"/>
            <a:ext cx="1645920" cy="4625788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758952" y="268288"/>
            <a:ext cx="1099073" cy="635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9801" y="3429000"/>
            <a:ext cx="4966446" cy="1398494"/>
          </a:xfrm>
        </p:spPr>
        <p:txBody>
          <a:bodyPr anchor="b" anchorCtr="0"/>
          <a:lstStyle>
            <a:lvl1pPr algn="r">
              <a:defRPr sz="46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09801" y="4824414"/>
            <a:ext cx="4966446" cy="1320800"/>
          </a:xfrm>
        </p:spPr>
        <p:txBody>
          <a:bodyPr anchor="t" anchorCtr="0">
            <a:norm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62600" y="6356350"/>
            <a:ext cx="1622612" cy="365125"/>
          </a:xfrm>
        </p:spPr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4812" y="6356350"/>
            <a:ext cx="531158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69875" y="4773706"/>
            <a:ext cx="2971800" cy="18445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354" y="3429001"/>
            <a:ext cx="4966446" cy="1398494"/>
          </a:xfrm>
        </p:spPr>
        <p:txBody>
          <a:bodyPr anchor="b" anchorCtr="0"/>
          <a:lstStyle>
            <a:lvl1pPr algn="r">
              <a:defRPr sz="46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0354" y="4824414"/>
            <a:ext cx="4966446" cy="1320800"/>
          </a:xfrm>
        </p:spPr>
        <p:txBody>
          <a:bodyPr anchor="t" anchorCtr="0">
            <a:norm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1212" y="6104965"/>
            <a:ext cx="506506" cy="365125"/>
          </a:xfrm>
        </p:spPr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69874" y="268288"/>
            <a:ext cx="2971800" cy="443865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Drag picture to placeholder or click icon to add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214563"/>
            <a:ext cx="3566160" cy="391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82440" y="2214563"/>
            <a:ext cx="3566160" cy="391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8835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54132"/>
            <a:ext cx="3566160" cy="639762"/>
          </a:xfrm>
        </p:spPr>
        <p:txBody>
          <a:bodyPr anchor="b">
            <a:noAutofit/>
          </a:bodyPr>
          <a:lstStyle>
            <a:lvl1pPr marL="0" indent="0" algn="ctr">
              <a:spcBef>
                <a:spcPct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689411"/>
            <a:ext cx="3566160" cy="343675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79391" y="2054132"/>
            <a:ext cx="3566160" cy="639762"/>
          </a:xfrm>
        </p:spPr>
        <p:txBody>
          <a:bodyPr anchor="b">
            <a:noAutofit/>
          </a:bodyPr>
          <a:lstStyle>
            <a:lvl1pPr marL="0" indent="0" algn="ctr">
              <a:spcBef>
                <a:spcPct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279391" y="2689411"/>
            <a:ext cx="3566160" cy="343675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, Top and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73914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2214562"/>
            <a:ext cx="7396163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57199" y="4224973"/>
            <a:ext cx="7396163" cy="1920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914400"/>
            <a:ext cx="6508377" cy="1143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2209800"/>
            <a:ext cx="6508377" cy="3916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98659" y="6356350"/>
            <a:ext cx="175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BC7C60AF-2FA2-2348-BC23-00B91192C880}" type="datetimeFigureOut">
              <a:rPr lang="en-US" smtClean="0"/>
              <a:t>3/20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4812" y="6356350"/>
            <a:ext cx="6007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6494" y="361016"/>
            <a:ext cx="5065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200" b="1">
                <a:solidFill>
                  <a:schemeClr val="bg1"/>
                </a:solidFill>
              </a:defRPr>
            </a:lvl1pPr>
          </a:lstStyle>
          <a:p>
            <a:fld id="{03563A73-AFB7-4B44-804D-6DD83D93EDFA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800"/>
        </a:spcBef>
        <a:buClr>
          <a:schemeClr val="accent1"/>
        </a:buClr>
        <a:buSzPct val="100000"/>
        <a:buFont typeface="Wingdings 2" pitchFamily="18" charset="2"/>
        <a:buChar char="¡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>
          <a:schemeClr val="accent1">
            <a:lumMod val="50000"/>
          </a:schemeClr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>
          <a:schemeClr val="accent1">
            <a:lumMod val="50000"/>
          </a:schemeClr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Wingdings 2" pitchFamily="18" charset="2"/>
        <a:buChar char="¡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377950" indent="-228600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603375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1830388" indent="-228600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Relationship Id="rId3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11" Type="http://schemas.microsoft.com/office/2007/relationships/hdphoto" Target="../media/hdphoto6.wdp"/><Relationship Id="rId12" Type="http://schemas.openxmlformats.org/officeDocument/2006/relationships/image" Target="../media/image5.png"/><Relationship Id="rId13" Type="http://schemas.microsoft.com/office/2007/relationships/hdphoto" Target="../media/hdphoto7.wdp"/><Relationship Id="rId14" Type="http://schemas.openxmlformats.org/officeDocument/2006/relationships/image" Target="../media/image6.png"/><Relationship Id="rId15" Type="http://schemas.microsoft.com/office/2007/relationships/hdphoto" Target="../media/hdphoto8.wdp"/><Relationship Id="rId16" Type="http://schemas.openxmlformats.org/officeDocument/2006/relationships/image" Target="../media/image7.png"/><Relationship Id="rId17" Type="http://schemas.microsoft.com/office/2007/relationships/hdphoto" Target="../media/hdphoto9.wdp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Relationship Id="rId3" Type="http://schemas.microsoft.com/office/2007/relationships/hdphoto" Target="../media/hdphoto1.wdp"/><Relationship Id="rId4" Type="http://schemas.microsoft.com/office/2007/relationships/hdphoto" Target="../media/hdphoto2.wdp"/><Relationship Id="rId5" Type="http://schemas.microsoft.com/office/2007/relationships/hdphoto" Target="../media/hdphoto3.wdp"/><Relationship Id="rId6" Type="http://schemas.microsoft.com/office/2007/relationships/hdphoto" Target="../media/hdphoto4.wdp"/><Relationship Id="rId7" Type="http://schemas.openxmlformats.org/officeDocument/2006/relationships/image" Target="../media/image2.png"/><Relationship Id="rId8" Type="http://schemas.openxmlformats.org/officeDocument/2006/relationships/image" Target="../media/image3.png"/><Relationship Id="rId9" Type="http://schemas.microsoft.com/office/2007/relationships/hdphoto" Target="../media/hdphoto5.wdp"/><Relationship Id="rId10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4.png"/><Relationship Id="rId20" Type="http://schemas.openxmlformats.org/officeDocument/2006/relationships/image" Target="../media/image11.jpeg"/><Relationship Id="rId21" Type="http://schemas.openxmlformats.org/officeDocument/2006/relationships/image" Target="../media/image12.png"/><Relationship Id="rId22" Type="http://schemas.openxmlformats.org/officeDocument/2006/relationships/image" Target="../media/image13.png"/><Relationship Id="rId23" Type="http://schemas.microsoft.com/office/2007/relationships/hdphoto" Target="../media/hdphoto15.wdp"/><Relationship Id="rId10" Type="http://schemas.microsoft.com/office/2007/relationships/hdphoto" Target="../media/hdphoto11.wdp"/><Relationship Id="rId11" Type="http://schemas.openxmlformats.org/officeDocument/2006/relationships/image" Target="../media/image5.png"/><Relationship Id="rId12" Type="http://schemas.microsoft.com/office/2007/relationships/hdphoto" Target="../media/hdphoto12.wdp"/><Relationship Id="rId13" Type="http://schemas.openxmlformats.org/officeDocument/2006/relationships/image" Target="../media/image6.png"/><Relationship Id="rId14" Type="http://schemas.microsoft.com/office/2007/relationships/hdphoto" Target="../media/hdphoto13.wdp"/><Relationship Id="rId15" Type="http://schemas.openxmlformats.org/officeDocument/2006/relationships/image" Target="../media/image7.png"/><Relationship Id="rId16" Type="http://schemas.microsoft.com/office/2007/relationships/hdphoto" Target="../media/hdphoto14.wdp"/><Relationship Id="rId17" Type="http://schemas.openxmlformats.org/officeDocument/2006/relationships/image" Target="../media/image8.png"/><Relationship Id="rId18" Type="http://schemas.openxmlformats.org/officeDocument/2006/relationships/image" Target="../media/image9.jpeg"/><Relationship Id="rId19" Type="http://schemas.openxmlformats.org/officeDocument/2006/relationships/image" Target="../media/image10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8" Type="http://schemas.microsoft.com/office/2007/relationships/hdphoto" Target="../media/hdphoto10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0400" y="4300645"/>
            <a:ext cx="5943600" cy="1556663"/>
          </a:xfrm>
        </p:spPr>
        <p:txBody>
          <a:bodyPr anchor="ctr">
            <a:normAutofit/>
          </a:bodyPr>
          <a:lstStyle/>
          <a:p>
            <a:pPr algn="ctr"/>
            <a:r>
              <a:rPr lang="en-US" dirty="0" smtClean="0"/>
              <a:t>My Choi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0400" y="5857308"/>
            <a:ext cx="5458968" cy="838012"/>
          </a:xfrm>
        </p:spPr>
        <p:txBody>
          <a:bodyPr>
            <a:normAutofit/>
          </a:bodyPr>
          <a:lstStyle/>
          <a:p>
            <a:pPr algn="ctr"/>
            <a:r>
              <a:rPr lang="en-US" dirty="0" smtClean="0"/>
              <a:t>FP2020 Quarterly Meeting </a:t>
            </a:r>
          </a:p>
          <a:p>
            <a:pPr algn="ctr"/>
            <a:r>
              <a:rPr lang="en-US" dirty="0" smtClean="0"/>
              <a:t>March 20, 2015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5948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Screen Shot 2015-03-19 at 10.24.32 A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3008" y="215247"/>
            <a:ext cx="3507611" cy="6450057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5669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Screen Shot 2015-03-19 at 10.24.57 AM.pn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78" r="3677"/>
          <a:stretch/>
        </p:blipFill>
        <p:spPr>
          <a:xfrm>
            <a:off x="2539828" y="0"/>
            <a:ext cx="3621541" cy="670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3247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Screen Shot 2015-03-19 at 10.24.00 AM.pn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33" r="-2235"/>
          <a:stretch/>
        </p:blipFill>
        <p:spPr>
          <a:xfrm>
            <a:off x="2636394" y="251618"/>
            <a:ext cx="3383830" cy="630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7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 descr="Screen Shot 2015-03-19 at 10.35.21 AM.png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1" r="-1691"/>
          <a:stretch/>
        </p:blipFill>
        <p:spPr>
          <a:xfrm>
            <a:off x="2416908" y="73605"/>
            <a:ext cx="3507279" cy="6637395"/>
          </a:xfrm>
        </p:spPr>
      </p:pic>
    </p:spTree>
    <p:extLst>
      <p:ext uri="{BB962C8B-B14F-4D97-AF65-F5344CB8AC3E}">
        <p14:creationId xmlns:p14="http://schemas.microsoft.com/office/powerpoint/2010/main" val="7226647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 descr="Screen Shot 2015-03-19 at 10.35.44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806" y="0"/>
            <a:ext cx="35730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332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Screen Shot 2015-03-19 at 10.37.07 AM.png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40"/>
          <a:stretch/>
        </p:blipFill>
        <p:spPr>
          <a:xfrm>
            <a:off x="2539783" y="0"/>
            <a:ext cx="3684252" cy="6817370"/>
          </a:xfrm>
        </p:spPr>
      </p:pic>
    </p:spTree>
    <p:extLst>
      <p:ext uri="{BB962C8B-B14F-4D97-AF65-F5344CB8AC3E}">
        <p14:creationId xmlns:p14="http://schemas.microsoft.com/office/powerpoint/2010/main" val="17341125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creen Shot 2015-03-20 at 9.38.49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4918" y="0"/>
            <a:ext cx="3568740" cy="6858000"/>
          </a:xfrm>
          <a:prstGeom prst="rect">
            <a:avLst/>
          </a:prstGeom>
        </p:spPr>
      </p:pic>
      <p:pic>
        <p:nvPicPr>
          <p:cNvPr id="6" name="Picture 5" descr="Screen Shot 2015-03-20 at 9.39.26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4" y="0"/>
            <a:ext cx="360207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4681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Screen Shot 2015-03-19 at 10.51.54 AM.png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1409" r="-1988"/>
          <a:stretch/>
        </p:blipFill>
        <p:spPr>
          <a:xfrm>
            <a:off x="-1119681" y="293257"/>
            <a:ext cx="7327698" cy="6564743"/>
          </a:xfrm>
        </p:spPr>
      </p:pic>
    </p:spTree>
    <p:extLst>
      <p:ext uri="{BB962C8B-B14F-4D97-AF65-F5344CB8AC3E}">
        <p14:creationId xmlns:p14="http://schemas.microsoft.com/office/powerpoint/2010/main" val="3659982787"/>
      </p:ext>
    </p:extLst>
  </p:cSld>
  <p:clrMapOvr>
    <a:masterClrMapping/>
  </p:clrMapOvr>
  <p:transition xmlns:p14="http://schemas.microsoft.com/office/powerpoint/2010/main" spd="slow">
    <p:randomBar dir="vert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 descr="Screen Shot 2015-03-19 at 11.10.05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2947" y="0"/>
            <a:ext cx="39202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794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8740" y="2741928"/>
            <a:ext cx="6508377" cy="1143000"/>
          </a:xfrm>
        </p:spPr>
        <p:txBody>
          <a:bodyPr/>
          <a:lstStyle/>
          <a:p>
            <a:pPr algn="ctr"/>
            <a:r>
              <a:rPr lang="en-US" b="1" dirty="0" smtClean="0"/>
              <a:t>THANK YOU</a:t>
            </a:r>
            <a:endParaRPr lang="en-US" b="1" dirty="0"/>
          </a:p>
        </p:txBody>
      </p:sp>
      <p:pic>
        <p:nvPicPr>
          <p:cNvPr id="3" name="Picture 2" descr="Screen Shot 2014-01-19 at 5.39.47 P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200" y="1458232"/>
            <a:ext cx="4784771" cy="360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8267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69025" y="2364213"/>
            <a:ext cx="1996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Demand </a:t>
            </a:r>
          </a:p>
          <a:p>
            <a:r>
              <a:rPr lang="en-US" dirty="0" smtClean="0">
                <a:latin typeface="Helvetica"/>
                <a:cs typeface="Helvetica"/>
              </a:rPr>
              <a:t>creation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57462" y="5766270"/>
            <a:ext cx="21238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Health facility strengthening for PPFP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522955" y="5523071"/>
            <a:ext cx="1635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SCM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635024" y="5179867"/>
            <a:ext cx="15089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Private sector contribution</a:t>
            </a:r>
            <a:endParaRPr lang="en-US" dirty="0">
              <a:latin typeface="Helvetica"/>
              <a:cs typeface="Helvetica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449122" y="2095661"/>
            <a:ext cx="16948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Helvetica"/>
                <a:cs typeface="Helvetica"/>
              </a:rPr>
              <a:t>Data strengthening</a:t>
            </a:r>
            <a:endParaRPr lang="en-US" dirty="0">
              <a:latin typeface="Helvetica"/>
              <a:cs typeface="Helvetica"/>
            </a:endParaRPr>
          </a:p>
        </p:txBody>
      </p:sp>
      <p:pic>
        <p:nvPicPr>
          <p:cNvPr id="3" name="Picture 2" descr="Screen Shot 2014-12-12 at 2.14.55 PM.png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8992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737" y="4108304"/>
            <a:ext cx="1649613" cy="1657966"/>
          </a:xfrm>
          <a:prstGeom prst="rect">
            <a:avLst/>
          </a:prstGeom>
        </p:spPr>
      </p:pic>
      <p:pic>
        <p:nvPicPr>
          <p:cNvPr id="24" name="Picture 23" descr="Screen Shot 2014-12-12 at 2.14.55 PM.png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8992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1519" y="1720929"/>
            <a:ext cx="1649613" cy="1657966"/>
          </a:xfrm>
          <a:prstGeom prst="rect">
            <a:avLst/>
          </a:prstGeom>
        </p:spPr>
      </p:pic>
      <p:pic>
        <p:nvPicPr>
          <p:cNvPr id="25" name="Picture 24" descr="Screen Shot 2014-12-12 at 2.14.55 PM.png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8992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4969" y="3691425"/>
            <a:ext cx="1649613" cy="1657966"/>
          </a:xfrm>
          <a:prstGeom prst="rect">
            <a:avLst/>
          </a:prstGeom>
        </p:spPr>
      </p:pic>
      <p:pic>
        <p:nvPicPr>
          <p:cNvPr id="26" name="Picture 25" descr="Screen Shot 2014-12-12 at 2.14.55 PM.png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992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342" y="5203968"/>
            <a:ext cx="1649613" cy="1657966"/>
          </a:xfrm>
          <a:prstGeom prst="rect">
            <a:avLst/>
          </a:prstGeom>
        </p:spPr>
      </p:pic>
      <p:pic>
        <p:nvPicPr>
          <p:cNvPr id="27" name="Picture 26" descr="Screen Shot 2014-12-12 at 2.14.55 PM.png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992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0076" y="1937110"/>
            <a:ext cx="1649613" cy="1657966"/>
          </a:xfrm>
          <a:prstGeom prst="rect">
            <a:avLst/>
          </a:prstGeom>
        </p:spPr>
      </p:pic>
      <p:pic>
        <p:nvPicPr>
          <p:cNvPr id="28" name="Picture 27" descr="Screen Shot 2014-12-11 at 2.45.54 P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4848" y="3126372"/>
            <a:ext cx="1838462" cy="1666044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3667485" y="3563441"/>
            <a:ext cx="1398619" cy="800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/>
                <a:cs typeface="Helvetica"/>
              </a:rPr>
              <a:t>MY CHOICE</a:t>
            </a:r>
            <a:endParaRPr lang="en-US" dirty="0">
              <a:latin typeface="Helvetica"/>
              <a:cs typeface="Helvetica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081782" y="3010544"/>
            <a:ext cx="718950" cy="415391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5163480" y="4269756"/>
            <a:ext cx="1331489" cy="250652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2381350" y="4318453"/>
            <a:ext cx="1243523" cy="415390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3251580" y="3331855"/>
            <a:ext cx="373293" cy="231586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26" idx="0"/>
          </p:cNvCxnSpPr>
          <p:nvPr/>
        </p:nvCxnSpPr>
        <p:spPr>
          <a:xfrm flipH="1" flipV="1">
            <a:off x="4577873" y="4792416"/>
            <a:ext cx="120276" cy="411552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Screen Shot 2014-12-12 at 2.34.06 PM.png"/>
          <p:cNvPicPr>
            <a:picLocks noChangeAspect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0615" y="2095661"/>
            <a:ext cx="1681490" cy="1236194"/>
          </a:xfrm>
          <a:prstGeom prst="rect">
            <a:avLst/>
          </a:prstGeom>
        </p:spPr>
      </p:pic>
      <p:pic>
        <p:nvPicPr>
          <p:cNvPr id="20" name="Picture 19" descr="Screen Shot 2014-12-12 at 2.45.45 PM.png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235" b="98765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81" y="4450127"/>
            <a:ext cx="889000" cy="1028700"/>
          </a:xfrm>
          <a:prstGeom prst="rect">
            <a:avLst/>
          </a:prstGeom>
        </p:spPr>
      </p:pic>
      <p:pic>
        <p:nvPicPr>
          <p:cNvPr id="21" name="Picture 20" descr="Screen Shot 2014-12-12 at 2.50.51 PM.png"/>
          <p:cNvPicPr>
            <a:picLocks noChangeAspect="1"/>
          </p:cNvPicPr>
          <p:nvPr/>
        </p:nvPicPr>
        <p:blipFill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4396" b="98352" l="1463" r="97561">
                        <a14:foregroundMark x1="67805" y1="18132" x2="67805" y2="18132"/>
                        <a14:foregroundMark x1="13171" y1="70330" x2="13171" y2="70330"/>
                        <a14:foregroundMark x1="23902" y1="80220" x2="23902" y2="80220"/>
                        <a14:foregroundMark x1="84878" y1="82967" x2="84878" y2="82967"/>
                        <a14:foregroundMark x1="69268" y1="64286" x2="69268" y2="64286"/>
                        <a14:foregroundMark x1="69268" y1="75824" x2="69268" y2="75824"/>
                        <a14:foregroundMark x1="78049" y1="72527" x2="78049" y2="72527"/>
                        <a14:foregroundMark x1="86829" y1="74176" x2="86829" y2="74176"/>
                        <a14:foregroundMark x1="67317" y1="88462" x2="67317" y2="88462"/>
                        <a14:foregroundMark x1="57073" y1="84066" x2="57073" y2="84066"/>
                        <a14:foregroundMark x1="50244" y1="84615" x2="50244" y2="84615"/>
                        <a14:foregroundMark x1="80000" y1="91758" x2="80000" y2="91758"/>
                        <a14:foregroundMark x1="85366" y1="92857" x2="85366" y2="92857"/>
                        <a14:foregroundMark x1="28780" y1="83516" x2="28780" y2="83516"/>
                        <a14:foregroundMark x1="29756" y1="78022" x2="29756" y2="78022"/>
                        <a14:foregroundMark x1="20000" y1="71429" x2="20000" y2="71429"/>
                        <a14:foregroundMark x1="18537" y1="78571" x2="18537" y2="78571"/>
                        <a14:foregroundMark x1="29756" y1="65934" x2="29756" y2="65934"/>
                        <a14:foregroundMark x1="18537" y1="54396" x2="18537" y2="54396"/>
                        <a14:foregroundMark x1="17561" y1="35714" x2="17561" y2="35714"/>
                        <a14:foregroundMark x1="39512" y1="37912" x2="39512" y2="37912"/>
                        <a14:foregroundMark x1="40000" y1="50000" x2="40000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451" y="5511811"/>
            <a:ext cx="1207180" cy="1071740"/>
          </a:xfrm>
          <a:prstGeom prst="rect">
            <a:avLst/>
          </a:prstGeom>
        </p:spPr>
      </p:pic>
      <p:pic>
        <p:nvPicPr>
          <p:cNvPr id="34" name="Picture 33" descr="Screen Shot 2014-12-12 at 2.53.19 PM.png"/>
          <p:cNvPicPr>
            <a:picLocks noChangeAspect="1"/>
          </p:cNvPicPr>
          <p:nvPr/>
        </p:nvPicPr>
        <p:blipFill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930" y="2108415"/>
            <a:ext cx="1562790" cy="1071762"/>
          </a:xfrm>
          <a:prstGeom prst="rect">
            <a:avLst/>
          </a:prstGeom>
        </p:spPr>
      </p:pic>
      <p:pic>
        <p:nvPicPr>
          <p:cNvPr id="38" name="Picture 37" descr="Screen Shot 2014-12-12 at 2.56.21 PM.png"/>
          <p:cNvPicPr>
            <a:picLocks noChangeAspect="1"/>
          </p:cNvPicPr>
          <p:nvPr/>
        </p:nvPicPr>
        <p:blipFill rotWithShape="1">
          <a:blip r:embed="rId16" cstate="email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93293" l="3333" r="99048">
                        <a14:foregroundMark x1="35238" y1="39634" x2="35238" y2="39634"/>
                        <a14:foregroundMark x1="40952" y1="53049" x2="40952" y2="53049"/>
                        <a14:foregroundMark x1="51429" y1="52439" x2="51429" y2="52439"/>
                        <a14:foregroundMark x1="63333" y1="48171" x2="63333" y2="48171"/>
                        <a14:foregroundMark x1="78571" y1="39634" x2="78571" y2="39634"/>
                        <a14:foregroundMark x1="90000" y1="46951" x2="90000" y2="46951"/>
                        <a14:foregroundMark x1="81429" y1="72561" x2="81429" y2="72561"/>
                        <a14:foregroundMark x1="10000" y1="14634" x2="10000" y2="14634"/>
                        <a14:foregroundMark x1="18095" y1="14024" x2="18095" y2="14024"/>
                        <a14:foregroundMark x1="30000" y1="20732" x2="30000" y2="20732"/>
                        <a14:foregroundMark x1="19524" y1="48171" x2="19524" y2="48171"/>
                        <a14:foregroundMark x1="12381" y1="73780" x2="12381" y2="73780"/>
                        <a14:foregroundMark x1="25238" y1="70732" x2="25238" y2="70732"/>
                        <a14:foregroundMark x1="16190" y1="81098" x2="16190" y2="81098"/>
                        <a14:foregroundMark x1="42857" y1="87195" x2="42857" y2="87195"/>
                        <a14:foregroundMark x1="52857" y1="68902" x2="52857" y2="68902"/>
                        <a14:foregroundMark x1="62857" y1="72561" x2="62857" y2="725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5231" y="3949186"/>
            <a:ext cx="1309090" cy="102419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480151" y="1417119"/>
            <a:ext cx="826798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i="1" dirty="0" smtClean="0">
                <a:latin typeface="Helvetica"/>
                <a:cs typeface="Helvetica"/>
              </a:rPr>
              <a:t>Supported by Gates Foundation and </a:t>
            </a:r>
            <a:r>
              <a:rPr lang="en-US" i="1" dirty="0" err="1" smtClean="0">
                <a:latin typeface="Helvetica"/>
                <a:cs typeface="Helvetica"/>
              </a:rPr>
              <a:t>Tahir</a:t>
            </a:r>
            <a:r>
              <a:rPr lang="en-US" i="1" dirty="0" smtClean="0">
                <a:latin typeface="Helvetica"/>
                <a:cs typeface="Helvetica"/>
              </a:rPr>
              <a:t> Foundation</a:t>
            </a:r>
            <a:endParaRPr lang="en-US" i="1" dirty="0">
              <a:latin typeface="Helvetica"/>
              <a:cs typeface="Helvetica"/>
            </a:endParaRP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57200" y="265050"/>
            <a:ext cx="8686800" cy="11430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My</a:t>
            </a:r>
            <a:r>
              <a:rPr lang="en-US" dirty="0" smtClean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 Choice</a:t>
            </a:r>
            <a:endParaRPr lang="en-US" dirty="0">
              <a:solidFill>
                <a:srgbClr val="000000"/>
              </a:solidFill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3196672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4-12-11 at 2.45.54 PM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079" y="3883668"/>
            <a:ext cx="1838462" cy="16660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50716" y="4320737"/>
            <a:ext cx="1398619" cy="800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Helvetica"/>
                <a:cs typeface="Helvetica"/>
              </a:rPr>
              <a:t>MY CHOICE</a:t>
            </a:r>
            <a:endParaRPr lang="en-US" dirty="0">
              <a:latin typeface="Helvetica"/>
              <a:cs typeface="Helvetica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414362" y="2498763"/>
            <a:ext cx="0" cy="408679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stCxn id="4" idx="3"/>
          </p:cNvCxnSpPr>
          <p:nvPr/>
        </p:nvCxnSpPr>
        <p:spPr>
          <a:xfrm>
            <a:off x="2186541" y="4716690"/>
            <a:ext cx="2023910" cy="2492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2414362" y="2498763"/>
            <a:ext cx="1796089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414362" y="3600344"/>
            <a:ext cx="1796089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414362" y="5781983"/>
            <a:ext cx="940659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414362" y="6548783"/>
            <a:ext cx="1796089" cy="2330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Screen Shot 2014-12-12 at 2.34.06 PM.png"/>
          <p:cNvPicPr>
            <a:picLocks noChangeAspect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8372" y="1834557"/>
            <a:ext cx="1681490" cy="1236194"/>
          </a:xfrm>
          <a:prstGeom prst="rect">
            <a:avLst/>
          </a:prstGeom>
        </p:spPr>
      </p:pic>
      <p:pic>
        <p:nvPicPr>
          <p:cNvPr id="22" name="Picture 21" descr="Screen Shot 2014-12-12 at 2.45.45 PM.png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235" b="98765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6636" y="3085994"/>
            <a:ext cx="889000" cy="1028700"/>
          </a:xfrm>
          <a:prstGeom prst="rect">
            <a:avLst/>
          </a:prstGeom>
        </p:spPr>
      </p:pic>
      <p:pic>
        <p:nvPicPr>
          <p:cNvPr id="23" name="Picture 22" descr="Screen Shot 2014-12-12 at 2.50.51 PM.png"/>
          <p:cNvPicPr>
            <a:picLocks noChangeAspect="1"/>
          </p:cNvPicPr>
          <p:nvPr/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4396" b="98352" l="1463" r="97561">
                        <a14:foregroundMark x1="67805" y1="18132" x2="67805" y2="18132"/>
                        <a14:foregroundMark x1="13171" y1="70330" x2="13171" y2="70330"/>
                        <a14:foregroundMark x1="23902" y1="80220" x2="23902" y2="80220"/>
                        <a14:foregroundMark x1="84878" y1="82967" x2="84878" y2="82967"/>
                        <a14:foregroundMark x1="69268" y1="64286" x2="69268" y2="64286"/>
                        <a14:foregroundMark x1="69268" y1="75824" x2="69268" y2="75824"/>
                        <a14:foregroundMark x1="78049" y1="72527" x2="78049" y2="72527"/>
                        <a14:foregroundMark x1="86829" y1="74176" x2="86829" y2="74176"/>
                        <a14:foregroundMark x1="67317" y1="88462" x2="67317" y2="88462"/>
                        <a14:foregroundMark x1="57073" y1="84066" x2="57073" y2="84066"/>
                        <a14:foregroundMark x1="50244" y1="84615" x2="50244" y2="84615"/>
                        <a14:foregroundMark x1="80000" y1="91758" x2="80000" y2="91758"/>
                        <a14:foregroundMark x1="85366" y1="92857" x2="85366" y2="92857"/>
                        <a14:foregroundMark x1="28780" y1="83516" x2="28780" y2="83516"/>
                        <a14:foregroundMark x1="29756" y1="78022" x2="29756" y2="78022"/>
                        <a14:foregroundMark x1="20000" y1="71429" x2="20000" y2="71429"/>
                        <a14:foregroundMark x1="18537" y1="78571" x2="18537" y2="78571"/>
                        <a14:foregroundMark x1="29756" y1="65934" x2="29756" y2="65934"/>
                        <a14:foregroundMark x1="18537" y1="54396" x2="18537" y2="54396"/>
                        <a14:foregroundMark x1="17561" y1="35714" x2="17561" y2="35714"/>
                        <a14:foregroundMark x1="39512" y1="37912" x2="39512" y2="37912"/>
                        <a14:foregroundMark x1="40000" y1="50000" x2="40000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5892" y="4215343"/>
            <a:ext cx="1207180" cy="1071740"/>
          </a:xfrm>
          <a:prstGeom prst="rect">
            <a:avLst/>
          </a:prstGeom>
        </p:spPr>
      </p:pic>
      <p:pic>
        <p:nvPicPr>
          <p:cNvPr id="24" name="Picture 23" descr="Screen Shot 2014-12-12 at 2.53.19 PM.png"/>
          <p:cNvPicPr>
            <a:picLocks noChangeAspect="1"/>
          </p:cNvPicPr>
          <p:nvPr/>
        </p:nvPicPr>
        <p:blipFill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451" y="5779136"/>
            <a:ext cx="1562790" cy="1071762"/>
          </a:xfrm>
          <a:prstGeom prst="rect">
            <a:avLst/>
          </a:prstGeom>
        </p:spPr>
      </p:pic>
      <p:pic>
        <p:nvPicPr>
          <p:cNvPr id="25" name="Picture 24" descr="Screen Shot 2014-12-12 at 2.56.21 PM.png"/>
          <p:cNvPicPr>
            <a:picLocks noChangeAspect="1"/>
          </p:cNvPicPr>
          <p:nvPr/>
        </p:nvPicPr>
        <p:blipFill rotWithShape="1"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93293" l="3333" r="99048">
                        <a14:foregroundMark x1="35238" y1="39634" x2="35238" y2="39634"/>
                        <a14:foregroundMark x1="40952" y1="53049" x2="40952" y2="53049"/>
                        <a14:foregroundMark x1="51429" y1="52439" x2="51429" y2="52439"/>
                        <a14:foregroundMark x1="63333" y1="48171" x2="63333" y2="48171"/>
                        <a14:foregroundMark x1="78571" y1="39634" x2="78571" y2="39634"/>
                        <a14:foregroundMark x1="90000" y1="46951" x2="90000" y2="46951"/>
                        <a14:foregroundMark x1="81429" y1="72561" x2="81429" y2="72561"/>
                        <a14:foregroundMark x1="10000" y1="14634" x2="10000" y2="14634"/>
                        <a14:foregroundMark x1="18095" y1="14024" x2="18095" y2="14024"/>
                        <a14:foregroundMark x1="30000" y1="20732" x2="30000" y2="20732"/>
                        <a14:foregroundMark x1="19524" y1="48171" x2="19524" y2="48171"/>
                        <a14:foregroundMark x1="12381" y1="73780" x2="12381" y2="73780"/>
                        <a14:foregroundMark x1="25238" y1="70732" x2="25238" y2="70732"/>
                        <a14:foregroundMark x1="16190" y1="81098" x2="16190" y2="81098"/>
                        <a14:foregroundMark x1="42857" y1="87195" x2="42857" y2="87195"/>
                        <a14:foregroundMark x1="52857" y1="68902" x2="52857" y2="68902"/>
                        <a14:foregroundMark x1="62857" y1="72561" x2="62857" y2="725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5021" y="5087595"/>
            <a:ext cx="1309090" cy="1024192"/>
          </a:xfrm>
          <a:prstGeom prst="rect">
            <a:avLst/>
          </a:prstGeom>
        </p:spPr>
      </p:pic>
      <p:cxnSp>
        <p:nvCxnSpPr>
          <p:cNvPr id="44" name="Straight Connector 43"/>
          <p:cNvCxnSpPr/>
          <p:nvPr/>
        </p:nvCxnSpPr>
        <p:spPr>
          <a:xfrm>
            <a:off x="5469083" y="2498763"/>
            <a:ext cx="1337115" cy="3692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7" name="Picture 11" descr="http://tanpi.jsi.com/Images/jsi_logo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8735" y="4141548"/>
            <a:ext cx="892021" cy="618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13" descr="http://t1.gstatic.com/images?q=tbn:ANd9GcRGLwhzlWoBLHZcCGDYaA-sPzIAEMhLW0URlEW4qgSlfMFVbpun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1961" y="5786923"/>
            <a:ext cx="1274735" cy="492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6" descr="DKT International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0666" y="5224363"/>
            <a:ext cx="820090" cy="430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9" descr="http://www.jhumhealth.org/sites/gmi.k4health.org/files/jhpiego_logo_rgb.jpg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51817" y="3070751"/>
            <a:ext cx="1619250" cy="529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50"/>
          <p:cNvPicPr/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0710" y="2192575"/>
            <a:ext cx="2193290" cy="619760"/>
          </a:xfrm>
          <a:prstGeom prst="rect">
            <a:avLst/>
          </a:prstGeom>
        </p:spPr>
      </p:pic>
      <p:cxnSp>
        <p:nvCxnSpPr>
          <p:cNvPr id="52" name="Straight Connector 51"/>
          <p:cNvCxnSpPr/>
          <p:nvPr/>
        </p:nvCxnSpPr>
        <p:spPr>
          <a:xfrm>
            <a:off x="4359392" y="3600344"/>
            <a:ext cx="2446806" cy="0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5621483" y="4665393"/>
            <a:ext cx="1184715" cy="0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5621483" y="5502107"/>
            <a:ext cx="1184715" cy="13291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5914788" y="6207360"/>
            <a:ext cx="891410" cy="3692"/>
          </a:xfrm>
          <a:prstGeom prst="line">
            <a:avLst/>
          </a:prstGeom>
          <a:ln w="57150" cmpd="sng">
            <a:solidFill>
              <a:schemeClr val="tx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6937755" y="1786451"/>
            <a:ext cx="22062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Helvetica"/>
                <a:cs typeface="Helvetica"/>
              </a:rPr>
              <a:t>Technical assistance:</a:t>
            </a:r>
            <a:endParaRPr lang="en-US" sz="1600" i="1" dirty="0">
              <a:latin typeface="Helvetica"/>
              <a:cs typeface="Helvetica"/>
            </a:endParaRPr>
          </a:p>
        </p:txBody>
      </p:sp>
      <p:pic>
        <p:nvPicPr>
          <p:cNvPr id="27" name="Picture 26" descr="Screen Shot 2014-12-23 at 8.34.12 AM.png"/>
          <p:cNvPicPr>
            <a:picLocks noChangeAspect="1"/>
          </p:cNvPicPr>
          <p:nvPr/>
        </p:nvPicPr>
        <p:blipFill>
          <a:blip r:embed="rId22" cstate="email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887" b="97642" l="791" r="100000">
                        <a14:foregroundMark x1="44466" y1="36321" x2="44466" y2="36321"/>
                        <a14:foregroundMark x1="48814" y1="36792" x2="48814" y2="36792"/>
                        <a14:foregroundMark x1="48814" y1="29717" x2="48814" y2="29717"/>
                        <a14:foregroundMark x1="46443" y1="42453" x2="46443" y2="42453"/>
                        <a14:foregroundMark x1="44664" y1="29717" x2="44664" y2="29717"/>
                        <a14:foregroundMark x1="51383" y1="39623" x2="51383" y2="39623"/>
                        <a14:foregroundMark x1="54743" y1="41038" x2="54743" y2="41038"/>
                        <a14:foregroundMark x1="54545" y1="32547" x2="54545" y2="32547"/>
                        <a14:foregroundMark x1="57115" y1="36321" x2="57115" y2="36321"/>
                        <a14:foregroundMark x1="57708" y1="27358" x2="57708" y2="27358"/>
                        <a14:foregroundMark x1="57312" y1="41981" x2="57312" y2="41981"/>
                        <a14:foregroundMark x1="60672" y1="39151" x2="60672" y2="39151"/>
                        <a14:foregroundMark x1="62846" y1="36321" x2="62846" y2="36321"/>
                        <a14:foregroundMark x1="65020" y1="39151" x2="65020" y2="39151"/>
                        <a14:foregroundMark x1="68182" y1="42453" x2="68182" y2="42453"/>
                        <a14:foregroundMark x1="68577" y1="34906" x2="68577" y2="34906"/>
                        <a14:foregroundMark x1="71542" y1="39151" x2="71542" y2="39151"/>
                        <a14:foregroundMark x1="72134" y1="33491" x2="72134" y2="33491"/>
                        <a14:foregroundMark x1="70751" y1="42453" x2="70751" y2="42453"/>
                        <a14:foregroundMark x1="74901" y1="41981" x2="74901" y2="41981"/>
                        <a14:foregroundMark x1="76482" y1="39151" x2="76482" y2="39151"/>
                        <a14:foregroundMark x1="78458" y1="39623" x2="78458" y2="39623"/>
                        <a14:foregroundMark x1="79447" y1="26415" x2="79447" y2="26415"/>
                        <a14:foregroundMark x1="79051" y1="34434" x2="79051" y2="34434"/>
                        <a14:foregroundMark x1="85375" y1="41038" x2="85375" y2="41038"/>
                        <a14:foregroundMark x1="88340" y1="38679" x2="88340" y2="38679"/>
                        <a14:foregroundMark x1="91107" y1="40094" x2="91107" y2="40094"/>
                        <a14:foregroundMark x1="93083" y1="41038" x2="93083" y2="41038"/>
                        <a14:foregroundMark x1="91502" y1="32547" x2="91502" y2="32547"/>
                        <a14:foregroundMark x1="82609" y1="33491" x2="82609" y2="33491"/>
                        <a14:foregroundMark x1="74506" y1="33962" x2="74506" y2="33962"/>
                        <a14:foregroundMark x1="48419" y1="68868" x2="48419" y2="68868"/>
                        <a14:foregroundMark x1="44071" y1="65094" x2="44071" y2="65094"/>
                        <a14:foregroundMark x1="52372" y1="71698" x2="52372" y2="71698"/>
                        <a14:foregroundMark x1="53557" y1="66509" x2="53557" y2="66509"/>
                        <a14:foregroundMark x1="50593" y1="68868" x2="50593" y2="68868"/>
                        <a14:foregroundMark x1="56719" y1="70755" x2="56719" y2="70755"/>
                        <a14:foregroundMark x1="58893" y1="70755" x2="58893" y2="70755"/>
                        <a14:foregroundMark x1="61265" y1="69811" x2="61265" y2="69811"/>
                        <a14:foregroundMark x1="61462" y1="57075" x2="61462" y2="57075"/>
                        <a14:foregroundMark x1="64427" y1="66509" x2="64427" y2="66509"/>
                        <a14:foregroundMark x1="66206" y1="69811" x2="66206" y2="69811"/>
                        <a14:foregroundMark x1="69170" y1="69340" x2="69170" y2="69340"/>
                        <a14:foregroundMark x1="71344" y1="69340" x2="71344" y2="69340"/>
                        <a14:foregroundMark x1="70751" y1="63208" x2="70751" y2="63208"/>
                        <a14:foregroundMark x1="68577" y1="61321" x2="68577" y2="61321"/>
                        <a14:foregroundMark x1="81818" y1="62264" x2="81818" y2="62264"/>
                        <a14:foregroundMark x1="83004" y1="68868" x2="83004" y2="68868"/>
                        <a14:foregroundMark x1="80435" y1="71698" x2="80435" y2="71698"/>
                        <a14:foregroundMark x1="76877" y1="67453" x2="76877" y2="67453"/>
                        <a14:foregroundMark x1="78458" y1="63208" x2="78458" y2="63208"/>
                        <a14:foregroundMark x1="85178" y1="71226" x2="85178" y2="71226"/>
                        <a14:foregroundMark x1="87945" y1="69811" x2="87945" y2="69811"/>
                        <a14:foregroundMark x1="90316" y1="68868" x2="90316" y2="68868"/>
                        <a14:foregroundMark x1="92688" y1="70755" x2="92688" y2="70755"/>
                        <a14:foregroundMark x1="93478" y1="61321" x2="93478" y2="61321"/>
                        <a14:foregroundMark x1="96047" y1="68396" x2="96047" y2="68396"/>
                        <a14:foregroundMark x1="98221" y1="71698" x2="98221" y2="71698"/>
                        <a14:foregroundMark x1="97826" y1="63208" x2="97826" y2="63208"/>
                        <a14:foregroundMark x1="98419" y1="66981" x2="98419" y2="6698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4783" y="6211052"/>
            <a:ext cx="1618004" cy="677899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57200" y="265050"/>
            <a:ext cx="86868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Partners</a:t>
            </a:r>
            <a:endParaRPr lang="en-US" dirty="0">
              <a:solidFill>
                <a:srgbClr val="000000"/>
              </a:solidFill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244894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79438" y="5333008"/>
            <a:ext cx="8250237" cy="400110"/>
          </a:xfrm>
          <a:prstGeom prst="rect">
            <a:avLst/>
          </a:prstGeom>
          <a:solidFill>
            <a:schemeClr val="tx1">
              <a:alpha val="37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en-US" sz="2000" dirty="0" smtClean="0">
                <a:solidFill>
                  <a:srgbClr val="FFFFFF"/>
                </a:solidFill>
                <a:latin typeface="Helvetica"/>
                <a:cs typeface="Helvetica"/>
              </a:rPr>
              <a:t>Average </a:t>
            </a:r>
            <a:r>
              <a:rPr lang="en-US" sz="2000" dirty="0" err="1" smtClean="0">
                <a:solidFill>
                  <a:srgbClr val="FFFFFF"/>
                </a:solidFill>
                <a:latin typeface="Helvetica"/>
                <a:cs typeface="Helvetica"/>
              </a:rPr>
              <a:t>mCPR</a:t>
            </a:r>
            <a:r>
              <a:rPr lang="en-US" sz="2000" dirty="0" smtClean="0">
                <a:solidFill>
                  <a:srgbClr val="FFFFFF"/>
                </a:solidFill>
                <a:latin typeface="Helvetica"/>
                <a:cs typeface="Helvetica"/>
              </a:rPr>
              <a:t> </a:t>
            </a:r>
            <a:r>
              <a:rPr lang="en-US" sz="2000" dirty="0">
                <a:solidFill>
                  <a:srgbClr val="FFFFFF"/>
                </a:solidFill>
                <a:latin typeface="Helvetica"/>
                <a:cs typeface="Helvetica"/>
              </a:rPr>
              <a:t>55,5</a:t>
            </a:r>
            <a:r>
              <a:rPr lang="en-US" sz="2000" dirty="0" smtClean="0">
                <a:solidFill>
                  <a:srgbClr val="FFFFFF"/>
                </a:solidFill>
                <a:latin typeface="Helvetica"/>
                <a:cs typeface="Helvetica"/>
              </a:rPr>
              <a:t>%</a:t>
            </a:r>
            <a:endParaRPr lang="en-US" sz="2000" dirty="0">
              <a:solidFill>
                <a:srgbClr val="FFFFFF"/>
              </a:solidFill>
              <a:latin typeface="Helvetica"/>
              <a:cs typeface="Helvetic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9438" y="6406275"/>
            <a:ext cx="3432175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800" dirty="0" smtClean="0">
                <a:latin typeface="Helvetica"/>
                <a:cs typeface="Helvetica"/>
              </a:rPr>
              <a:t>Source: </a:t>
            </a:r>
            <a:r>
              <a:rPr lang="en-US" sz="1800" dirty="0" err="1">
                <a:latin typeface="Helvetica"/>
                <a:cs typeface="Helvetica"/>
              </a:rPr>
              <a:t>Susenas</a:t>
            </a:r>
            <a:r>
              <a:rPr lang="en-US" sz="1800" dirty="0">
                <a:latin typeface="Helvetica"/>
                <a:cs typeface="Helvetica"/>
              </a:rPr>
              <a:t>, 2013</a:t>
            </a:r>
          </a:p>
        </p:txBody>
      </p:sp>
      <p:pic>
        <p:nvPicPr>
          <p:cNvPr id="10" name="Picture 4" descr="Screen Shot 2014-10-30 at 8.36.18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355" y="1590257"/>
            <a:ext cx="8300320" cy="3643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36338" y="3606378"/>
            <a:ext cx="9249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solidFill>
                  <a:srgbClr val="525252"/>
                </a:solidFill>
              </a:rPr>
              <a:t>Gowa</a:t>
            </a:r>
            <a:endParaRPr lang="en-US" sz="1200" dirty="0">
              <a:solidFill>
                <a:srgbClr val="525252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65050"/>
            <a:ext cx="86868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Working areas</a:t>
            </a:r>
            <a:endParaRPr lang="en-US" dirty="0">
              <a:solidFill>
                <a:srgbClr val="000000"/>
              </a:solidFill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9137485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Content Placeholder 2"/>
          <p:cNvSpPr>
            <a:spLocks noGrp="1"/>
          </p:cNvSpPr>
          <p:nvPr>
            <p:ph idx="1"/>
          </p:nvPr>
        </p:nvSpPr>
        <p:spPr>
          <a:xfrm>
            <a:off x="303213" y="1871663"/>
            <a:ext cx="8764587" cy="4289425"/>
          </a:xfrm>
        </p:spPr>
        <p:txBody>
          <a:bodyPr>
            <a:normAutofit lnSpcReduction="10000"/>
          </a:bodyPr>
          <a:lstStyle/>
          <a:p>
            <a:pPr marL="457200" indent="-457200">
              <a:lnSpc>
                <a:spcPct val="80000"/>
              </a:lnSpc>
              <a:buClrTx/>
              <a:buFont typeface="+mj-lt"/>
              <a:buAutoNum type="arabicPeriod"/>
            </a:pPr>
            <a:r>
              <a:rPr lang="en-US" sz="2400" dirty="0" smtClean="0">
                <a:latin typeface="Helvetica"/>
                <a:cs typeface="Helvetica"/>
              </a:rPr>
              <a:t>Increase </a:t>
            </a:r>
            <a:r>
              <a:rPr lang="en-US" sz="2400" dirty="0" err="1">
                <a:latin typeface="Helvetica"/>
                <a:cs typeface="Helvetica"/>
              </a:rPr>
              <a:t>mCPR</a:t>
            </a:r>
            <a:r>
              <a:rPr lang="en-US" sz="2400" dirty="0">
                <a:latin typeface="Helvetica"/>
                <a:cs typeface="Helvetica"/>
              </a:rPr>
              <a:t> by 5 percentage </a:t>
            </a:r>
            <a:r>
              <a:rPr lang="en-US" sz="2400" dirty="0" smtClean="0">
                <a:latin typeface="Helvetica"/>
                <a:cs typeface="Helvetica"/>
              </a:rPr>
              <a:t>points in 11 districts.</a:t>
            </a:r>
          </a:p>
          <a:p>
            <a:pPr marL="457200" indent="-457200">
              <a:lnSpc>
                <a:spcPct val="80000"/>
              </a:lnSpc>
              <a:buClrTx/>
              <a:buFont typeface="+mj-lt"/>
              <a:buAutoNum type="arabicPeriod"/>
            </a:pPr>
            <a:r>
              <a:rPr lang="en-US" sz="2400" dirty="0" smtClean="0">
                <a:latin typeface="Helvetica"/>
                <a:cs typeface="Helvetica"/>
              </a:rPr>
              <a:t>Double </a:t>
            </a:r>
            <a:r>
              <a:rPr lang="en-US" sz="2400" dirty="0">
                <a:latin typeface="Helvetica"/>
                <a:cs typeface="Helvetica"/>
              </a:rPr>
              <a:t>the percentage of women who adopt postpartum family planning </a:t>
            </a:r>
            <a:r>
              <a:rPr lang="en-US" sz="2400" dirty="0" smtClean="0">
                <a:latin typeface="Helvetica"/>
                <a:cs typeface="Helvetica"/>
              </a:rPr>
              <a:t>in selected facilities before </a:t>
            </a:r>
            <a:r>
              <a:rPr lang="en-US" sz="2400" dirty="0">
                <a:latin typeface="Helvetica"/>
                <a:cs typeface="Helvetica"/>
              </a:rPr>
              <a:t>leaving a birthing </a:t>
            </a:r>
            <a:r>
              <a:rPr lang="en-US" sz="2400" dirty="0" smtClean="0">
                <a:latin typeface="Helvetica"/>
                <a:cs typeface="Helvetica"/>
              </a:rPr>
              <a:t>facility by improving </a:t>
            </a:r>
            <a:r>
              <a:rPr lang="en-US" sz="2400" dirty="0">
                <a:latin typeface="Helvetica"/>
                <a:cs typeface="Helvetica"/>
              </a:rPr>
              <a:t>high volume facility readiness to provide quality, immediate post partum  contraceptive methods appropriate to life </a:t>
            </a:r>
            <a:r>
              <a:rPr lang="en-US" sz="2400" dirty="0" smtClean="0">
                <a:latin typeface="Helvetica"/>
                <a:cs typeface="Helvetica"/>
              </a:rPr>
              <a:t>stage</a:t>
            </a:r>
            <a:r>
              <a:rPr lang="en-US" sz="2400" dirty="0">
                <a:latin typeface="Helvetica"/>
                <a:cs typeface="Helvetica"/>
              </a:rPr>
              <a:t>.</a:t>
            </a:r>
            <a:endParaRPr lang="en-US" sz="2400" dirty="0" smtClean="0">
              <a:latin typeface="Helvetica"/>
              <a:cs typeface="Helvetica"/>
            </a:endParaRPr>
          </a:p>
          <a:p>
            <a:pPr marL="457200" indent="-457200">
              <a:lnSpc>
                <a:spcPct val="80000"/>
              </a:lnSpc>
              <a:buClrTx/>
              <a:buFont typeface="+mj-lt"/>
              <a:buAutoNum type="arabicPeriod"/>
            </a:pPr>
            <a:r>
              <a:rPr lang="en-US" sz="2400" dirty="0" smtClean="0">
                <a:latin typeface="Helvetica"/>
                <a:cs typeface="Helvetica"/>
              </a:rPr>
              <a:t>Strengthen </a:t>
            </a:r>
            <a:r>
              <a:rPr lang="en-US" sz="2400" dirty="0">
                <a:latin typeface="Helvetica"/>
                <a:cs typeface="Helvetica"/>
              </a:rPr>
              <a:t>supply chain to ensure full access and choice by reducing </a:t>
            </a:r>
            <a:r>
              <a:rPr lang="en-US" sz="2400" dirty="0" err="1">
                <a:latin typeface="Helvetica"/>
                <a:cs typeface="Helvetica"/>
              </a:rPr>
              <a:t>stockouts</a:t>
            </a:r>
            <a:r>
              <a:rPr lang="en-US" sz="2400" dirty="0">
                <a:latin typeface="Helvetica"/>
                <a:cs typeface="Helvetica"/>
              </a:rPr>
              <a:t> </a:t>
            </a:r>
            <a:r>
              <a:rPr lang="en-US" sz="2400" dirty="0" smtClean="0">
                <a:latin typeface="Helvetica"/>
                <a:cs typeface="Helvetica"/>
              </a:rPr>
              <a:t>in 11 selected districts</a:t>
            </a:r>
          </a:p>
          <a:p>
            <a:pPr marL="457200" indent="-457200">
              <a:lnSpc>
                <a:spcPct val="80000"/>
              </a:lnSpc>
              <a:buClrTx/>
              <a:buFont typeface="+mj-lt"/>
              <a:buAutoNum type="arabicPeriod"/>
            </a:pPr>
            <a:r>
              <a:rPr lang="en-US" sz="2400" dirty="0" smtClean="0">
                <a:latin typeface="Helvetica"/>
                <a:cs typeface="Helvetica"/>
              </a:rPr>
              <a:t>Create </a:t>
            </a:r>
            <a:r>
              <a:rPr lang="en-US" sz="2400" dirty="0">
                <a:latin typeface="Helvetica"/>
                <a:cs typeface="Helvetica"/>
              </a:rPr>
              <a:t>a culture that promotes and expects data-informed decision making by increasing the percentage of SDPs and FP offices in targeted  </a:t>
            </a:r>
            <a:r>
              <a:rPr lang="en-US" sz="2400" dirty="0" smtClean="0">
                <a:latin typeface="Helvetica"/>
                <a:cs typeface="Helvetica"/>
              </a:rPr>
              <a:t>districts </a:t>
            </a:r>
            <a:r>
              <a:rPr lang="en-US" sz="2400" dirty="0">
                <a:latin typeface="Helvetica"/>
                <a:cs typeface="Helvetica"/>
              </a:rPr>
              <a:t>regularly submitting complete, on-time reports on FP and receiving routine feedback on </a:t>
            </a:r>
            <a:r>
              <a:rPr lang="en-US" sz="2400" dirty="0" smtClean="0">
                <a:latin typeface="Helvetica"/>
                <a:cs typeface="Helvetica"/>
              </a:rPr>
              <a:t>performance</a:t>
            </a:r>
            <a:endParaRPr lang="en-US" sz="2400" dirty="0">
              <a:latin typeface="Helvetica"/>
              <a:cs typeface="Helvetica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265050"/>
            <a:ext cx="86868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Expected results</a:t>
            </a:r>
            <a:endParaRPr lang="en-US" dirty="0">
              <a:solidFill>
                <a:srgbClr val="000000"/>
              </a:solidFill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9014928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date on activiti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ational and provincial level socializations conducted</a:t>
            </a:r>
          </a:p>
          <a:p>
            <a:r>
              <a:rPr lang="en-US" dirty="0" smtClean="0"/>
              <a:t>Starting assessments at the district level Supply Chain Management and Facility </a:t>
            </a:r>
            <a:r>
              <a:rPr lang="en-US" dirty="0"/>
              <a:t>R</a:t>
            </a:r>
            <a:r>
              <a:rPr lang="en-US" dirty="0" smtClean="0"/>
              <a:t>eadiness</a:t>
            </a:r>
          </a:p>
          <a:p>
            <a:r>
              <a:rPr lang="en-US" dirty="0" smtClean="0"/>
              <a:t>Formative research and base line to happen March-May</a:t>
            </a:r>
          </a:p>
          <a:p>
            <a:r>
              <a:rPr lang="en-US" dirty="0" smtClean="0"/>
              <a:t>Communication and Leadership Training for BKKBN National, Provincial, and District</a:t>
            </a:r>
          </a:p>
          <a:p>
            <a:r>
              <a:rPr lang="en-US" dirty="0" smtClean="0"/>
              <a:t>Smartphone App developmen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2282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77444"/>
            <a:ext cx="2931724" cy="1143000"/>
          </a:xfrm>
        </p:spPr>
        <p:txBody>
          <a:bodyPr/>
          <a:lstStyle/>
          <a:p>
            <a:r>
              <a:rPr lang="en-US" dirty="0" smtClean="0"/>
              <a:t>SKATA App</a:t>
            </a:r>
            <a:endParaRPr lang="en-US" dirty="0"/>
          </a:p>
        </p:txBody>
      </p:sp>
      <p:pic>
        <p:nvPicPr>
          <p:cNvPr id="4" name="Picture 3" descr="Screen Shot 2015-03-19 at 10.23.17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3231" y="0"/>
            <a:ext cx="395727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1481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Screen Shot 2015-03-19 at 10.30.5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5864" y="0"/>
            <a:ext cx="372154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7615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Screen Shot 2015-03-19 at 10.24.00 AM.png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33" r="-2235"/>
          <a:stretch/>
        </p:blipFill>
        <p:spPr>
          <a:xfrm>
            <a:off x="2605040" y="251618"/>
            <a:ext cx="3383830" cy="6308198"/>
          </a:xfrm>
        </p:spPr>
      </p:pic>
    </p:spTree>
    <p:extLst>
      <p:ext uri="{BB962C8B-B14F-4D97-AF65-F5344CB8AC3E}">
        <p14:creationId xmlns:p14="http://schemas.microsoft.com/office/powerpoint/2010/main" val="13776410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cZASf.EymNa_HGK6V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vBKrUmBEa9Hdp6nuTc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OTqfJ8mkSJH.nIFQu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5S3NVu4EuoPalUmURG1Q"/>
</p:tagLst>
</file>

<file path=ppt/theme/theme1.xml><?xml version="1.0" encoding="utf-8"?>
<a:theme xmlns:a="http://schemas.openxmlformats.org/drawingml/2006/main" name="Plaza">
  <a:themeElements>
    <a:clrScheme name="Plaza">
      <a:dk1>
        <a:sysClr val="windowText" lastClr="000000"/>
      </a:dk1>
      <a:lt1>
        <a:sysClr val="window" lastClr="FFFFFF"/>
      </a:lt1>
      <a:dk2>
        <a:srgbClr val="333333"/>
      </a:dk2>
      <a:lt2>
        <a:srgbClr val="CCCCCC"/>
      </a:lt2>
      <a:accent1>
        <a:srgbClr val="990000"/>
      </a:accent1>
      <a:accent2>
        <a:srgbClr val="580101"/>
      </a:accent2>
      <a:accent3>
        <a:srgbClr val="E94A00"/>
      </a:accent3>
      <a:accent4>
        <a:srgbClr val="EB8F00"/>
      </a:accent4>
      <a:accent5>
        <a:srgbClr val="A4A4A4"/>
      </a:accent5>
      <a:accent6>
        <a:srgbClr val="666666"/>
      </a:accent6>
      <a:hlink>
        <a:srgbClr val="D01010"/>
      </a:hlink>
      <a:folHlink>
        <a:srgbClr val="E6682E"/>
      </a:folHlink>
    </a:clrScheme>
    <a:fontScheme name="Plaza">
      <a:maj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ajorFont>
      <a:min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inorFont>
    </a:fontScheme>
    <a:fmtScheme name="Plaza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60000"/>
                <a:satMod val="135000"/>
              </a:schemeClr>
            </a:gs>
            <a:gs pos="100000">
              <a:schemeClr val="phClr">
                <a:tint val="10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0000"/>
                <a:satMod val="120000"/>
              </a:schemeClr>
            </a:gs>
            <a:gs pos="35000">
              <a:schemeClr val="phClr">
                <a:shade val="100000"/>
                <a:satMod val="150000"/>
              </a:schemeClr>
            </a:gs>
            <a:gs pos="70000">
              <a:schemeClr val="phClr">
                <a:tint val="100000"/>
                <a:shade val="100000"/>
                <a:satMod val="200000"/>
                <a:greenMod val="100000"/>
              </a:schemeClr>
            </a:gs>
            <a:gs pos="100000">
              <a:schemeClr val="phClr"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190500" dist="63500" dir="5400000">
              <a:srgbClr val="FFFFFF">
                <a:alpha val="65000"/>
              </a:srgbClr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  <a:sp3d prstMaterial="matte">
            <a:bevelT w="0" h="0" prst="relaxedInset"/>
          </a:sp3d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88900" dist="38100" dir="6600000" sx="101000" sy="101000" rotWithShape="0">
              <a:srgbClr val="000000">
                <a:alpha val="50000"/>
              </a:srgbClr>
            </a:outerShdw>
          </a:effectLst>
          <a:scene3d>
            <a:camera prst="perspectiveFront" fov="3000000"/>
            <a:lightRig rig="morning" dir="tl">
              <a:rot lat="0" lon="0" rev="1800000"/>
            </a:lightRig>
          </a:scene3d>
          <a:sp3d contourW="38100" prstMaterial="softEdge">
            <a:bevelT w="25400" h="38100"/>
            <a:contourClr>
              <a:schemeClr val="phClr">
                <a:tint val="6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print.thmx</Template>
  <TotalTime>3516</TotalTime>
  <Words>213</Words>
  <Application>Microsoft Macintosh PowerPoint</Application>
  <PresentationFormat>On-screen Show (4:3)</PresentationFormat>
  <Paragraphs>34</Paragraphs>
  <Slides>1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Plaza</vt:lpstr>
      <vt:lpstr>My Choice</vt:lpstr>
      <vt:lpstr>My Choice</vt:lpstr>
      <vt:lpstr>Partners</vt:lpstr>
      <vt:lpstr>Working areas</vt:lpstr>
      <vt:lpstr>Expected results</vt:lpstr>
      <vt:lpstr>Update on activities </vt:lpstr>
      <vt:lpstr>SKATA Ap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>Johns Hopkins Bloomberg School of Public Heal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uglas Storey</dc:creator>
  <cp:lastModifiedBy>Adila Prasodjo</cp:lastModifiedBy>
  <cp:revision>201</cp:revision>
  <cp:lastPrinted>2014-01-20T04:04:33Z</cp:lastPrinted>
  <dcterms:created xsi:type="dcterms:W3CDTF">2014-01-13T08:22:25Z</dcterms:created>
  <dcterms:modified xsi:type="dcterms:W3CDTF">2015-03-20T02:50:58Z</dcterms:modified>
</cp:coreProperties>
</file>